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47267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12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6" y="0"/>
            <a:ext cx="12195175" cy="6858000"/>
          </a:xfr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1999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>
          <a:xfrm>
            <a:off x="568819" y="850392"/>
            <a:ext cx="4179897" cy="5157216"/>
          </a:xfrm>
          <a:solidFill>
            <a:schemeClr val="accent2">
              <a:alpha val="80000"/>
            </a:scheme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16992" y="2679062"/>
            <a:ext cx="393699" cy="0"/>
          </a:xfrm>
          <a:prstGeom prst="line">
            <a:avLst/>
          </a:prstGeom>
          <a:ln w="254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91965" y="3063240"/>
            <a:ext cx="3283551" cy="1262324"/>
          </a:xfrm>
        </p:spPr>
        <p:txBody>
          <a:bodyPr/>
          <a:lstStyle>
            <a:lvl1pPr>
              <a:defRPr sz="15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2399"/>
              </a:spcAft>
              <a:buFontTx/>
              <a:buNone/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A6A499F-9625-47BC-9F31-4425227F0A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920" y="5196316"/>
            <a:ext cx="1625783" cy="32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07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A4D12A02-A360-46A7-8D87-07E27C95D1F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0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A5028E0-B9C4-4F1E-B493-C01E099850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chemeClr val="accent2">
              <a:alpha val="80000"/>
            </a:scheme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BB2D2B8-9FB8-4A09-A965-EDE29B294B69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399" indent="-171399">
              <a:defRPr sz="1500">
                <a:solidFill>
                  <a:schemeClr val="bg1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6993" indent="-174573">
              <a:defRPr sz="1500">
                <a:solidFill>
                  <a:schemeClr val="bg1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52517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3D055086-58AC-42CE-888E-C815208128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E6573A-5FD6-4334-99D2-D89E563A34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rgbClr val="FFFFFF">
              <a:alpha val="89804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C96A496-EE5B-40C6-8F1E-8D08A089A294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399" indent="-171399">
              <a:defRPr sz="1500">
                <a:solidFill>
                  <a:schemeClr val="tx2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6993" indent="-174573">
              <a:defRPr sz="1500">
                <a:solidFill>
                  <a:schemeClr val="tx2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07339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54CB2024-EDB7-4027-B7B3-F640F2EC1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0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866DF86-B4A3-42B6-8919-C55C8B1577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rgbClr val="FFFFFF">
              <a:alpha val="89804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B60552F6-0A47-41DD-9EA5-4D6D279BD2A6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399" indent="-171399">
              <a:defRPr sz="1500">
                <a:solidFill>
                  <a:schemeClr val="tx2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6993" indent="-174573">
              <a:defRPr sz="1500">
                <a:solidFill>
                  <a:schemeClr val="tx2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4091990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EB3AA7B-BFA1-4F3B-8433-5B996FE11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rgbClr val="0B315E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7D4864B-4462-4B16-A8C6-1DC8862069A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399" indent="-171399">
              <a:defRPr sz="1500">
                <a:solidFill>
                  <a:schemeClr val="bg1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6993" indent="-174573">
              <a:defRPr sz="1500">
                <a:solidFill>
                  <a:schemeClr val="bg1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318925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right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231705" indent="0" algn="l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3148CBB-91E1-498A-B884-AECB778C00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5323194" cy="5724144"/>
          </a:xfrm>
          <a:solidFill>
            <a:srgbClr val="0B315E">
              <a:alpha val="85098"/>
            </a:srgb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F62E717-3D00-4196-812F-72CF9487567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6667712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399" indent="-171399">
              <a:defRPr sz="1500">
                <a:solidFill>
                  <a:schemeClr val="bg1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6993" indent="-174573">
              <a:defRPr sz="1500">
                <a:solidFill>
                  <a:schemeClr val="bg1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253780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with white box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18986E69-701C-42B3-B14B-5B9A1444F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1002" y="384048"/>
            <a:ext cx="11430000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28BE8D4-0273-4958-B950-4410BF4CC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6347" y="3081528"/>
            <a:ext cx="4774411" cy="2551176"/>
          </a:xfrm>
          <a:solidFill>
            <a:srgbClr val="FFFFFF"/>
          </a:solidFill>
        </p:spPr>
        <p:txBody>
          <a:bodyPr lIns="182880" tIns="457200" rIns="182880" anchor="t">
            <a:noAutofit/>
          </a:bodyPr>
          <a:lstStyle>
            <a:lvl1pPr algn="ctr"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5" name="Text Placeholder 26">
            <a:extLst>
              <a:ext uri="{FF2B5EF4-FFF2-40B4-BE49-F238E27FC236}">
                <a16:creationId xmlns:a16="http://schemas.microsoft.com/office/drawing/2014/main" id="{B6FFC798-0A25-41EF-9946-E74888704E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82294" y="4332246"/>
            <a:ext cx="4200808" cy="663575"/>
          </a:xfrm>
        </p:spPr>
        <p:txBody>
          <a:bodyPr>
            <a:noAutofit/>
          </a:bodyPr>
          <a:lstStyle>
            <a:lvl1pPr algn="ctr">
              <a:defRPr sz="179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429975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1A63108-01D5-41AB-9EF7-B33704800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8952" y="2500847"/>
            <a:ext cx="4187136" cy="1208557"/>
          </a:xfrm>
        </p:spPr>
        <p:txBody>
          <a:bodyPr anchor="ctr">
            <a:noAutofit/>
          </a:bodyPr>
          <a:lstStyle>
            <a:lvl1pPr algn="r">
              <a:defRPr sz="3199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Data slide title</a:t>
            </a:r>
          </a:p>
        </p:txBody>
      </p:sp>
    </p:spTree>
    <p:extLst>
      <p:ext uri="{BB962C8B-B14F-4D97-AF65-F5344CB8AC3E}">
        <p14:creationId xmlns:p14="http://schemas.microsoft.com/office/powerpoint/2010/main" val="39265607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E96B7D-96F7-4EF1-83A2-1101BEEF3887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D13D1E-7E64-42B7-8EA6-D800640A3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E1E31FCE-7759-4235-8803-6826C9DCEC7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65294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93758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E75D67C-2BF7-49B0-848A-B3B00A9D33BF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FA46B7-5841-498B-82BA-189426FD5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6F1E52-8E2E-4152-9F15-10C9CCB20146}"/>
              </a:ext>
            </a:extLst>
          </p:cNvPr>
          <p:cNvSpPr/>
          <p:nvPr userDrawn="1"/>
        </p:nvSpPr>
        <p:spPr>
          <a:xfrm>
            <a:off x="4265294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249" tIns="182832" rIns="274249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9326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2A5CA1F-4240-4602-9BCE-C5A4DD7D03C9}"/>
              </a:ext>
            </a:extLst>
          </p:cNvPr>
          <p:cNvSpPr/>
          <p:nvPr userDrawn="1"/>
        </p:nvSpPr>
        <p:spPr>
          <a:xfrm>
            <a:off x="393294" y="384048"/>
            <a:ext cx="3639312" cy="5724144"/>
          </a:xfrm>
          <a:prstGeom prst="rect">
            <a:avLst/>
          </a:prstGeom>
          <a:solidFill>
            <a:srgbClr val="0B31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2B703BF-57D7-44B0-A2A6-42286624F9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057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DB03DA0-A7BD-4BF3-A74D-74FF41083AA4}"/>
              </a:ext>
            </a:extLst>
          </p:cNvPr>
          <p:cNvSpPr/>
          <p:nvPr userDrawn="1"/>
        </p:nvSpPr>
        <p:spPr>
          <a:xfrm>
            <a:off x="4265294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249" tIns="182832" rIns="274249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1226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1586" y="0"/>
            <a:ext cx="12195175" cy="6858000"/>
          </a:xfrm>
          <a:solidFill>
            <a:schemeClr val="bg1">
              <a:lumMod val="75000"/>
            </a:schemeClr>
          </a:solidFill>
        </p:spPr>
        <p:txBody>
          <a:bodyPr rIns="457200"/>
          <a:lstStyle>
            <a:lvl1pPr algn="r">
              <a:defRPr sz="1999" b="1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Click icon to add pictur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568819" y="850392"/>
            <a:ext cx="4179897" cy="5157216"/>
          </a:xfrm>
          <a:solidFill>
            <a:srgbClr val="FFFFFF">
              <a:alpha val="89804"/>
            </a:srgbClr>
          </a:solidFill>
        </p:spPr>
        <p:txBody>
          <a:bodyPr lIns="402336" tIns="457200" rIns="365760" bIns="182880" anchor="t">
            <a:noAutofit/>
          </a:bodyPr>
          <a:lstStyle>
            <a:lvl1pPr algn="l">
              <a:defRPr sz="3599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 her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7A45137-D954-4F74-A043-F7DE2DC22D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1016992" y="2679062"/>
            <a:ext cx="393699" cy="0"/>
          </a:xfrm>
          <a:prstGeom prst="line">
            <a:avLst/>
          </a:prstGeom>
          <a:ln w="254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89553" y="3063240"/>
            <a:ext cx="3283551" cy="1262324"/>
          </a:xfrm>
        </p:spPr>
        <p:txBody>
          <a:bodyPr/>
          <a:lstStyle>
            <a:lvl1pPr>
              <a:defRPr sz="15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2399"/>
              </a:spcAft>
              <a:buFontTx/>
              <a:buNone/>
              <a:defRPr sz="1300">
                <a:solidFill>
                  <a:schemeClr val="tx2"/>
                </a:solidFill>
              </a:defRPr>
            </a:lvl2pPr>
            <a:lvl3pPr marL="0" indent="0"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Presenter title</a:t>
            </a:r>
          </a:p>
          <a:p>
            <a:pPr lvl="2"/>
            <a:r>
              <a:rPr lang="en-US"/>
              <a:t>Dat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99D396-D53C-41D9-81C7-3FD41159C5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5920" y="5196316"/>
            <a:ext cx="1625783" cy="321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048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5"/>
          <p:cNvSpPr>
            <a:spLocks noGrp="1"/>
          </p:cNvSpPr>
          <p:nvPr>
            <p:ph type="pic" sz="quarter" idx="18"/>
          </p:nvPr>
        </p:nvSpPr>
        <p:spPr>
          <a:xfrm>
            <a:off x="393294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1FF0497-F9C8-4016-899B-3B35773D1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2841510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FCC6671F-C7F4-4670-B18C-6C0DEC86BD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93294" y="384048"/>
            <a:ext cx="7545765" cy="572414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99F17DB-23BC-4547-8F26-EF60DE5F906A}"/>
              </a:ext>
            </a:extLst>
          </p:cNvPr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398F8E1-81C5-43DF-9E44-7560787FB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accent2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40029321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A90D6A-6A50-4593-8B6E-4ED03D36A1ED}"/>
              </a:ext>
            </a:extLst>
          </p:cNvPr>
          <p:cNvSpPr/>
          <p:nvPr userDrawn="1"/>
        </p:nvSpPr>
        <p:spPr>
          <a:xfrm>
            <a:off x="395726" y="384048"/>
            <a:ext cx="7545707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249" tIns="182832" rIns="274249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6AA8204-C754-4229-95F2-FEC283A55893}"/>
              </a:ext>
            </a:extLst>
          </p:cNvPr>
          <p:cNvSpPr/>
          <p:nvPr userDrawn="1"/>
        </p:nvSpPr>
        <p:spPr>
          <a:xfrm>
            <a:off x="8167719" y="384048"/>
            <a:ext cx="3639312" cy="5724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CVS Health Sans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226EF1E-6A37-420A-83BE-9C74A6B91F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8986" y="2353322"/>
            <a:ext cx="2864494" cy="1690242"/>
          </a:xfrm>
        </p:spPr>
        <p:txBody>
          <a:bodyPr anchor="ctr"/>
          <a:lstStyle>
            <a:lvl1pPr algn="ctr"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Main key point here</a:t>
            </a:r>
          </a:p>
        </p:txBody>
      </p:sp>
    </p:spTree>
    <p:extLst>
      <p:ext uri="{BB962C8B-B14F-4D97-AF65-F5344CB8AC3E}">
        <p14:creationId xmlns:p14="http://schemas.microsoft.com/office/powerpoint/2010/main" val="1826225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-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4882"/>
            <a:ext cx="8588453" cy="3987745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 baseline="0"/>
            </a:lvl6pPr>
            <a:lvl7pPr marL="856993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 baseline="0">
                <a:solidFill>
                  <a:schemeClr val="tx2"/>
                </a:solidFill>
              </a:defRPr>
            </a:lvl7pPr>
            <a:lvl8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8pPr>
            <a:lvl9pPr marL="1202964" indent="-172986">
              <a:spcBef>
                <a:spcPts val="600"/>
              </a:spcBef>
              <a:buFont typeface="Arial" panose="020B0604020202020204" pitchFamily="34" charset="0"/>
              <a:buChar char="•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r>
              <a:rPr lang="en-US"/>
              <a:t>Fifth-level bullet</a:t>
            </a:r>
          </a:p>
          <a:p>
            <a:pPr lvl="7"/>
            <a:r>
              <a:rPr lang="en-US"/>
              <a:t>Sixth-level bullet</a:t>
            </a:r>
          </a:p>
          <a:p>
            <a:pPr lvl="8"/>
            <a:r>
              <a:rPr lang="en-US"/>
              <a:t>Seven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1497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ou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one-column layout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557929" y="1776585"/>
            <a:ext cx="8588453" cy="3977640"/>
          </a:xfrm>
        </p:spPr>
        <p:txBody>
          <a:bodyPr/>
          <a:lstStyle>
            <a:lvl1pPr>
              <a:defRPr sz="1500" cap="none" baseline="0">
                <a:solidFill>
                  <a:schemeClr val="tx2"/>
                </a:solidFill>
              </a:defRPr>
            </a:lvl1pPr>
            <a:lvl2pPr marL="171399" indent="-171399">
              <a:defRPr sz="1500">
                <a:solidFill>
                  <a:schemeClr val="tx2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tx2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tx2"/>
                </a:solidFill>
              </a:defRPr>
            </a:lvl5pPr>
            <a:lvl6pPr marL="856993" indent="-174573">
              <a:defRPr sz="1500"/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20483624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 for two-column layou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57929" y="1773937"/>
            <a:ext cx="5030510" cy="3984133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 baseline="0"/>
            </a:lvl6pPr>
            <a:lvl7pPr marL="856993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2964" indent="-172986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6393321" y="1773937"/>
            <a:ext cx="5030510" cy="3984133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 baseline="0"/>
            </a:lvl6pPr>
            <a:lvl7pPr marL="856993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856993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8pPr>
            <a:lvl9pPr marL="1202964" indent="-172986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  <a:p>
            <a:pPr lvl="6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5270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three-column layou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70062" y="1773936"/>
            <a:ext cx="3461080" cy="3975080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/>
            </a:lvl6pPr>
            <a:lvl7pPr marL="856993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2964" indent="-172986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4362278" y="1773936"/>
            <a:ext cx="3461080" cy="3975080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 baseline="0"/>
            </a:lvl6pPr>
            <a:lvl7pPr marL="856993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7pPr>
            <a:lvl8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7" hasCustomPrompt="1"/>
          </p:nvPr>
        </p:nvSpPr>
        <p:spPr bwMode="gray">
          <a:xfrm>
            <a:off x="8154491" y="1773936"/>
            <a:ext cx="3461080" cy="3975080"/>
          </a:xfrm>
        </p:spPr>
        <p:txBody>
          <a:bodyPr/>
          <a:lstStyle>
            <a:lvl1pPr>
              <a:defRPr sz="1999" b="1" cap="none" baseline="0">
                <a:solidFill>
                  <a:schemeClr val="tx2"/>
                </a:solidFill>
              </a:defRPr>
            </a:lvl1pPr>
            <a:lvl2pPr marL="0" indent="0">
              <a:buFontTx/>
              <a:buNone/>
              <a:defRPr sz="1500">
                <a:solidFill>
                  <a:schemeClr val="tx2"/>
                </a:solidFill>
              </a:defRPr>
            </a:lvl2pPr>
            <a:lvl3pPr marL="172986" indent="-172986">
              <a:spcBef>
                <a:spcPts val="12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3pPr>
            <a:lvl4pPr marL="347559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4pPr>
            <a:lvl5pPr marL="509435" indent="-161876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tx2"/>
                </a:solidFill>
              </a:defRPr>
            </a:lvl5pPr>
            <a:lvl6pPr marL="682420" indent="-172986">
              <a:buFont typeface="Arial" panose="020B0604020202020204" pitchFamily="34" charset="0"/>
              <a:buChar char="–"/>
              <a:defRPr sz="1500"/>
            </a:lvl6pPr>
            <a:lvl7pPr marL="68242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7pPr>
            <a:lvl8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8pPr>
            <a:lvl9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3871862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for four-column layou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 bwMode="gray">
          <a:xfrm>
            <a:off x="557929" y="1773846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999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573" indent="-174573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559" indent="-172986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022" indent="-163464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594" indent="-174573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 bwMode="gray">
          <a:xfrm>
            <a:off x="3406744" y="1773846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999" b="1" cap="none" baseline="0" dirty="0" smtClean="0">
                <a:solidFill>
                  <a:schemeClr val="tx2"/>
                </a:solidFill>
              </a:defRPr>
            </a:lvl1pPr>
            <a:lvl2pPr marL="0" indent="0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573" indent="-174573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559" indent="-172986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022" indent="-163464">
              <a:buClr>
                <a:schemeClr val="tx1"/>
              </a:buClr>
              <a:buFont typeface="Arial" panose="020B0604020202020204" pitchFamily="34" charset="0"/>
              <a:buChar char="•"/>
              <a:defRPr lang="en-US" sz="1500" baseline="0" dirty="0">
                <a:solidFill>
                  <a:schemeClr val="tx2"/>
                </a:solidFill>
              </a:defRPr>
            </a:lvl5pPr>
            <a:lvl6pPr marL="685594" indent="-174573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8" hasCustomPrompt="1"/>
          </p:nvPr>
        </p:nvSpPr>
        <p:spPr bwMode="gray">
          <a:xfrm>
            <a:off x="6255558" y="1773846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999" b="1" cap="none" baseline="0" dirty="0" smtClean="0">
                <a:solidFill>
                  <a:schemeClr val="tx2"/>
                </a:solidFill>
              </a:defRPr>
            </a:lvl1pPr>
            <a:lvl2pPr marL="0" indent="0" algn="l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573" indent="-174573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559" indent="-172986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022" indent="-165050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594" indent="-174573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3" hasCustomPrompt="1"/>
          </p:nvPr>
        </p:nvSpPr>
        <p:spPr bwMode="gray">
          <a:xfrm>
            <a:off x="9104372" y="1773846"/>
            <a:ext cx="2506109" cy="3988781"/>
          </a:xfr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 lang="en-US" sz="1999" b="1" cap="none" baseline="0" dirty="0" smtClean="0">
                <a:solidFill>
                  <a:schemeClr val="tx2"/>
                </a:solidFill>
              </a:defRPr>
            </a:lvl1pPr>
            <a:lvl2pPr marL="0" indent="0" algn="l">
              <a:buClr>
                <a:schemeClr val="tx1"/>
              </a:buClr>
              <a:buNone/>
              <a:defRPr lang="en-US" sz="1500" dirty="0" smtClean="0">
                <a:solidFill>
                  <a:schemeClr val="tx2"/>
                </a:solidFill>
              </a:defRPr>
            </a:lvl2pPr>
            <a:lvl3pPr marL="174573" indent="-174573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 smtClean="0">
                <a:solidFill>
                  <a:schemeClr val="tx2"/>
                </a:solidFill>
              </a:defRPr>
            </a:lvl3pPr>
            <a:lvl4pPr marL="347559" indent="-172986">
              <a:buClr>
                <a:schemeClr val="tx1"/>
              </a:buClr>
              <a:buFont typeface="Arial" panose="020B0604020202020204" pitchFamily="34" charset="0"/>
              <a:buChar char="–"/>
              <a:defRPr lang="en-US" sz="1500" dirty="0" smtClean="0">
                <a:solidFill>
                  <a:schemeClr val="tx2"/>
                </a:solidFill>
              </a:defRPr>
            </a:lvl4pPr>
            <a:lvl5pPr marL="511022" indent="-165050">
              <a:buClr>
                <a:schemeClr val="tx1"/>
              </a:buClr>
              <a:buFont typeface="Arial" panose="020B0604020202020204" pitchFamily="34" charset="0"/>
              <a:buChar char="•"/>
              <a:defRPr lang="en-US" sz="1500" dirty="0">
                <a:solidFill>
                  <a:schemeClr val="tx2"/>
                </a:solidFill>
              </a:defRPr>
            </a:lvl5pPr>
            <a:lvl6pPr marL="685594" indent="-174573"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First-level bullet</a:t>
            </a:r>
          </a:p>
          <a:p>
            <a:pPr lvl="3"/>
            <a:r>
              <a:rPr lang="en-US"/>
              <a:t>Second-level bullet</a:t>
            </a:r>
          </a:p>
          <a:p>
            <a:pPr lvl="4"/>
            <a:r>
              <a:rPr lang="en-US"/>
              <a:t>Third-level bullet</a:t>
            </a:r>
          </a:p>
          <a:p>
            <a:pPr lvl="5"/>
            <a:r>
              <a:rPr lang="en-US"/>
              <a:t>Four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309491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7929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21675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81002" y="384048"/>
            <a:ext cx="11430000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249" tIns="182832" rIns="274249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3418" y="649224"/>
            <a:ext cx="9667726" cy="713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69707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717806" y="389319"/>
            <a:ext cx="9101035" cy="572414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249" tIns="182832" rIns="274249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>
              <a:solidFill>
                <a:schemeClr val="accent5"/>
              </a:solidFill>
            </a:endParaRPr>
          </a:p>
        </p:txBody>
      </p:sp>
      <p:sp>
        <p:nvSpPr>
          <p:cNvPr id="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384048" y="1024128"/>
            <a:ext cx="5806440" cy="4443984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23763" y="1167898"/>
            <a:ext cx="3685665" cy="890028"/>
          </a:xfrm>
        </p:spPr>
        <p:txBody>
          <a:bodyPr anchor="b">
            <a:noAutofit/>
          </a:bodyPr>
          <a:lstStyle>
            <a:lvl1pPr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7223762" y="2825587"/>
            <a:ext cx="3682432" cy="2407316"/>
          </a:xfrm>
        </p:spPr>
        <p:txBody>
          <a:bodyPr>
            <a:noAutofit/>
          </a:bodyPr>
          <a:lstStyle>
            <a:lvl1pPr>
              <a:defRPr sz="15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ext here 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905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26764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s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0C78D-4F6B-45F8-AB04-A56A0B1F3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-347472"/>
            <a:ext cx="9667726" cy="262719"/>
          </a:xfrm>
        </p:spPr>
        <p:txBody>
          <a:bodyPr anchor="b"/>
          <a:lstStyle>
            <a:lvl1pPr>
              <a:defRPr sz="1400"/>
            </a:lvl1pPr>
          </a:lstStyle>
          <a:p>
            <a:r>
              <a:rPr lang="en-US"/>
              <a:t>Title for slide built on the blank accessibility master</a:t>
            </a:r>
          </a:p>
        </p:txBody>
      </p:sp>
    </p:spTree>
    <p:extLst>
      <p:ext uri="{BB962C8B-B14F-4D97-AF65-F5344CB8AC3E}">
        <p14:creationId xmlns:p14="http://schemas.microsoft.com/office/powerpoint/2010/main" val="3908179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165B92E-6E75-4AE3-9A66-2BE7D7974F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12191999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A83F15B-6875-4795-A8F5-FC92953B66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336" y="1207608"/>
            <a:ext cx="3395987" cy="3538233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65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osing text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1D7764A-9A2F-4C88-8306-BE35C8081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7824" y="6352940"/>
            <a:ext cx="932646" cy="18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920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253777D-5108-48F4-BAF8-16EF5CA96A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-347472"/>
            <a:ext cx="9667726" cy="262719"/>
          </a:xfrm>
        </p:spPr>
        <p:txBody>
          <a:bodyPr anchor="b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Aetna logo on white backgroun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D64A778-2C84-4DE6-BEAD-02FCE4B3EA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5756" y="2927802"/>
            <a:ext cx="4541434" cy="89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539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S logo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268719-E45D-4DB9-A5CE-3920E9240B44}"/>
              </a:ext>
            </a:extLst>
          </p:cNvPr>
          <p:cNvSpPr/>
          <p:nvPr userDrawn="1"/>
        </p:nvSpPr>
        <p:spPr>
          <a:xfrm>
            <a:off x="2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C1C0A90-CD75-4DD6-80F4-EDD3FD0CF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29" y="-347472"/>
            <a:ext cx="9667726" cy="262719"/>
          </a:xfrm>
        </p:spPr>
        <p:txBody>
          <a:bodyPr anchor="b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Aetna logo on red background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4A90719-D4B4-4A04-B734-B10C4712F9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5756" y="2927802"/>
            <a:ext cx="4541434" cy="89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9864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8"/>
          <p:cNvSpPr txBox="1">
            <a:spLocks/>
          </p:cNvSpPr>
          <p:nvPr/>
        </p:nvSpPr>
        <p:spPr>
          <a:xfrm>
            <a:off x="10774366" y="6418263"/>
            <a:ext cx="735012" cy="228600"/>
          </a:xfrm>
          <a:prstGeom prst="rect">
            <a:avLst/>
          </a:prstGeom>
        </p:spPr>
        <p:txBody>
          <a:bodyPr anchor="ctr"/>
          <a:lstStyle>
            <a:lvl1pPr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200025" indent="-200025"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398463" indent="-200025"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622300" indent="-200025"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806450" indent="-182563"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1263650" indent="-182563" eaLnBrk="0" fontAlgn="base" hangingPunct="0">
              <a:spcBef>
                <a:spcPct val="0"/>
              </a:spcBef>
              <a:spcAft>
                <a:spcPct val="0"/>
              </a:spcAft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1720850" indent="-182563" eaLnBrk="0" fontAlgn="base" hangingPunct="0">
              <a:spcBef>
                <a:spcPct val="0"/>
              </a:spcBef>
              <a:spcAft>
                <a:spcPct val="0"/>
              </a:spcAft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2178050" indent="-182563" eaLnBrk="0" fontAlgn="base" hangingPunct="0">
              <a:spcBef>
                <a:spcPct val="0"/>
              </a:spcBef>
              <a:spcAft>
                <a:spcPct val="0"/>
              </a:spcAft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2635250" indent="-182563" eaLnBrk="0" fontAlgn="base" hangingPunct="0">
              <a:spcBef>
                <a:spcPct val="0"/>
              </a:spcBef>
              <a:spcAft>
                <a:spcPct val="0"/>
              </a:spcAft>
              <a:tabLst>
                <a:tab pos="1201738" algn="l"/>
              </a:tabLs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algn="r" eaLnBrk="1" hangingPunct="1">
              <a:spcBef>
                <a:spcPts val="600"/>
              </a:spcBef>
              <a:defRPr/>
            </a:pPr>
            <a:r>
              <a:rPr lang="en-US" altLang="en-US" sz="1000" dirty="0">
                <a:solidFill>
                  <a:schemeClr val="tx2"/>
                </a:solidFill>
                <a:cs typeface="Open Sans" panose="020B0606030504020204" pitchFamily="34" charset="0"/>
              </a:rPr>
              <a:t> </a:t>
            </a:r>
            <a:fld id="{EBDAD44D-8E68-456A-ABE0-1F2D8B5597E4}" type="slidenum">
              <a:rPr lang="en-US" altLang="en-US" sz="1000" smtClean="0">
                <a:solidFill>
                  <a:srgbClr val="3F3F3F"/>
                </a:solidFill>
                <a:cs typeface="Open Sans" panose="020B0606030504020204" pitchFamily="34" charset="0"/>
              </a:rPr>
              <a:pPr algn="r" eaLnBrk="1" hangingPunct="1">
                <a:spcBef>
                  <a:spcPts val="600"/>
                </a:spcBef>
                <a:defRPr/>
              </a:pPr>
              <a:t>‹#›</a:t>
            </a:fld>
            <a:endParaRPr lang="en-US" altLang="en-US" sz="1000" dirty="0">
              <a:solidFill>
                <a:schemeClr val="tx2"/>
              </a:solidFill>
              <a:cs typeface="Open Sans" panose="020B0606030504020204" pitchFamily="34" charset="0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3992566" y="2882900"/>
            <a:ext cx="4206875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797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673225" y="1588"/>
            <a:ext cx="0" cy="989012"/>
          </a:xfrm>
          <a:prstGeom prst="line">
            <a:avLst/>
          </a:prstGeom>
          <a:ln w="12700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796" y="388062"/>
            <a:ext cx="9457359" cy="731520"/>
          </a:xfrm>
        </p:spPr>
        <p:txBody>
          <a:bodyPr anchor="ctr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318" y="1600200"/>
            <a:ext cx="3887212" cy="4636008"/>
          </a:xfrm>
        </p:spPr>
        <p:txBody>
          <a:bodyPr/>
          <a:lstStyle>
            <a:lvl1pPr>
              <a:spcBef>
                <a:spcPts val="1797"/>
              </a:spcBef>
              <a:defRPr sz="1797" b="1">
                <a:solidFill>
                  <a:schemeClr val="tx2"/>
                </a:solidFill>
                <a:latin typeface="Open Sans Bold"/>
                <a:cs typeface="Open Sans Bold"/>
              </a:defRPr>
            </a:lvl1pPr>
            <a:lvl2pPr marL="0" indent="0">
              <a:spcBef>
                <a:spcPts val="1200"/>
              </a:spcBef>
              <a:buFontTx/>
              <a:buNone/>
              <a:defRPr sz="1797"/>
            </a:lvl2pPr>
            <a:lvl3pPr marL="199845" indent="-199845">
              <a:spcBef>
                <a:spcPts val="600"/>
              </a:spcBef>
              <a:buFont typeface="Arial"/>
              <a:buChar char="•"/>
              <a:defRPr sz="1797"/>
            </a:lvl3pPr>
            <a:lvl4pPr marL="398104" indent="-199845">
              <a:buFont typeface="Lucida Grande"/>
              <a:buChar char="-"/>
              <a:defRPr sz="1797"/>
            </a:lvl4pPr>
            <a:lvl5pPr>
              <a:defRPr sz="179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7593392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165E74-0BFE-4D4E-BE06-4E5F3C9197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2" y="1122363"/>
            <a:ext cx="9144000" cy="2387600"/>
          </a:xfrm>
        </p:spPr>
        <p:txBody>
          <a:bodyPr anchor="b"/>
          <a:lstStyle>
            <a:lvl1pPr algn="ctr">
              <a:defRPr sz="59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3F6B9D-B933-4EE1-8A2A-04ADCD2D0A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2" y="3602038"/>
            <a:ext cx="9144000" cy="1655762"/>
          </a:xfrm>
        </p:spPr>
        <p:txBody>
          <a:bodyPr/>
          <a:lstStyle>
            <a:lvl1pPr marL="0" indent="0" algn="ctr">
              <a:buNone/>
              <a:defRPr sz="2398"/>
            </a:lvl1pPr>
            <a:lvl2pPr marL="456926" indent="0" algn="ctr">
              <a:buNone/>
              <a:defRPr sz="1998"/>
            </a:lvl2pPr>
            <a:lvl3pPr marL="913852" indent="0" algn="ctr">
              <a:buNone/>
              <a:defRPr sz="1798"/>
            </a:lvl3pPr>
            <a:lvl4pPr marL="1370778" indent="0" algn="ctr">
              <a:buNone/>
              <a:defRPr sz="1600"/>
            </a:lvl4pPr>
            <a:lvl5pPr marL="1827703" indent="0" algn="ctr">
              <a:buNone/>
              <a:defRPr sz="1600"/>
            </a:lvl5pPr>
            <a:lvl6pPr marL="2284628" indent="0" algn="ctr">
              <a:buNone/>
              <a:defRPr sz="1600"/>
            </a:lvl6pPr>
            <a:lvl7pPr marL="2741554" indent="0" algn="ctr">
              <a:buNone/>
              <a:defRPr sz="1600"/>
            </a:lvl7pPr>
            <a:lvl8pPr marL="3198480" indent="0" algn="ctr">
              <a:buNone/>
              <a:defRPr sz="1600"/>
            </a:lvl8pPr>
            <a:lvl9pPr marL="365540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4BC6EA-0F30-4BBD-8374-DEDF88AD17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122B13-11F5-4A61-A042-A073399DEA3F}" type="datetimeFigureOut">
              <a:rPr lang="en-US" smtClean="0"/>
              <a:t>6/6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B79C9-8227-4677-A777-FBD7EBF0F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3A944B-2C5E-475C-A3E0-F2D69E08A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79157-611B-49FD-A062-236A42249D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5705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023 Standard slide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3416FC9B-F9BF-7941-A0ED-F7443859EE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149" y="5968315"/>
            <a:ext cx="5788689" cy="530973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>
                <a:solidFill>
                  <a:srgbClr val="000000"/>
                </a:solidFill>
                <a:latin typeface="CVS Health Sans Cd" panose="020B05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000" b="0" i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914400" indent="0">
              <a:buNone/>
              <a:defRPr sz="1000" b="0" i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371600" indent="0">
              <a:buNone/>
              <a:defRPr sz="1000" b="0" i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828800" indent="0">
              <a:buNone/>
              <a:defRPr sz="1000" b="0" i="0">
                <a:solidFill>
                  <a:srgbClr val="3F3F3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3">
            <a:extLst>
              <a:ext uri="{FF2B5EF4-FFF2-40B4-BE49-F238E27FC236}">
                <a16:creationId xmlns:a16="http://schemas.microsoft.com/office/drawing/2014/main" id="{6647DAC4-1C01-4386-9957-D56FFB0C3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48" y="384049"/>
            <a:ext cx="6462685" cy="672949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24D263-40C1-304A-66CD-A49A15DAB298}"/>
              </a:ext>
            </a:extLst>
          </p:cNvPr>
          <p:cNvSpPr/>
          <p:nvPr userDrawn="1"/>
        </p:nvSpPr>
        <p:spPr>
          <a:xfrm>
            <a:off x="7871791" y="0"/>
            <a:ext cx="432021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1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5F1E9C4-E728-88E3-03AA-00B3F1339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87823" y="6352940"/>
            <a:ext cx="932646" cy="18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14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2" y="3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chemeClr val="accent2">
              <a:alpha val="69804"/>
            </a:schemeClr>
          </a:solidFill>
        </p:spPr>
        <p:txBody>
          <a:bodyPr rIns="0" anchor="ctr"/>
          <a:lstStyle>
            <a:lvl1pPr algn="ctr">
              <a:defRPr sz="359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3078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2" y="3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chemeClr val="accent6">
              <a:alpha val="69804"/>
            </a:schemeClr>
          </a:solidFill>
        </p:spPr>
        <p:txBody>
          <a:bodyPr rIns="0" anchor="ctr"/>
          <a:lstStyle>
            <a:lvl1pPr algn="ctr">
              <a:defRPr sz="359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199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2" y="3"/>
            <a:ext cx="12192000" cy="6107113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3284C44-CBEF-4F9A-AC72-8990858B0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127" cy="6108192"/>
          </a:xfrm>
          <a:solidFill>
            <a:srgbClr val="0A4B8C">
              <a:alpha val="69804"/>
            </a:srgbClr>
          </a:solidFill>
        </p:spPr>
        <p:txBody>
          <a:bodyPr rIns="0" anchor="ctr"/>
          <a:lstStyle>
            <a:lvl1pPr algn="ctr">
              <a:defRPr sz="359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title for divid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488A55-A1E3-4589-84A6-891A58FB0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99151" y="2270492"/>
            <a:ext cx="393699" cy="1554480"/>
            <a:chOff x="5897615" y="2231631"/>
            <a:chExt cx="393596" cy="155448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3CD6507-4329-43F1-9783-C7A1ED84BBC5}"/>
                </a:ext>
              </a:extLst>
            </p:cNvPr>
            <p:cNvCxnSpPr/>
            <p:nvPr/>
          </p:nvCxnSpPr>
          <p:spPr>
            <a:xfrm>
              <a:off x="5897615" y="223163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CA169C1-F273-430E-82C8-6CC1089786DA}"/>
                </a:ext>
              </a:extLst>
            </p:cNvPr>
            <p:cNvCxnSpPr/>
            <p:nvPr/>
          </p:nvCxnSpPr>
          <p:spPr>
            <a:xfrm>
              <a:off x="5897615" y="3786111"/>
              <a:ext cx="393596" cy="0"/>
            </a:xfrm>
            <a:prstGeom prst="line">
              <a:avLst/>
            </a:prstGeom>
            <a:ln w="25400" cmpd="sng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gray">
          <a:xfrm>
            <a:off x="1" y="6261904"/>
            <a:ext cx="4445836" cy="596096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65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EB6C09C-1569-4654-BB41-00C9680D2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30" y="649224"/>
            <a:ext cx="10382997" cy="76708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Click to add title for three-column with text and pictograms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876397E4-B71C-46AA-956F-3D980F86C3D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14332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1999" b="1"/>
            </a:lvl1pPr>
            <a:lvl2pPr marL="0" indent="0" algn="ctr">
              <a:spcBef>
                <a:spcPts val="1200"/>
              </a:spcBef>
              <a:buFontTx/>
              <a:buNone/>
              <a:defRPr sz="1500" baseline="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9553113-2B4B-401B-B370-4B3C744FACE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629476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1999" b="1"/>
            </a:lvl1pPr>
            <a:lvl2pPr marL="0" indent="0" algn="ctr">
              <a:spcBef>
                <a:spcPts val="1200"/>
              </a:spcBef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57CE74-CA0B-4C5C-9F24-0A4DDE0192E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44620" y="3474720"/>
            <a:ext cx="2926080" cy="2278380"/>
          </a:xfrm>
        </p:spPr>
        <p:txBody>
          <a:bodyPr/>
          <a:lstStyle>
            <a:lvl1pPr algn="ctr">
              <a:spcBef>
                <a:spcPts val="1200"/>
              </a:spcBef>
              <a:defRPr sz="1999" b="1"/>
            </a:lvl1pPr>
            <a:lvl2pPr marL="0" indent="0" algn="ctr">
              <a:spcBef>
                <a:spcPts val="1200"/>
              </a:spcBef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1944710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with Journ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5">
            <a:extLst>
              <a:ext uri="{FF2B5EF4-FFF2-40B4-BE49-F238E27FC236}">
                <a16:creationId xmlns:a16="http://schemas.microsoft.com/office/drawing/2014/main" id="{36CF014F-B23E-4DD0-8A88-40A65BDAD14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1002" y="384050"/>
            <a:ext cx="11430000" cy="5723065"/>
          </a:xfr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26009B7-5F33-4D7E-A4F7-6CA681DDE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418" y="645676"/>
            <a:ext cx="9590735" cy="501558"/>
          </a:xfrm>
        </p:spPr>
        <p:txBody>
          <a:bodyPr>
            <a:noAutofit/>
          </a:bodyPr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 for five-column journey layout</a:t>
            </a:r>
          </a:p>
        </p:txBody>
      </p:sp>
      <p:sp>
        <p:nvSpPr>
          <p:cNvPr id="10" name="Text Placeholder 26">
            <a:extLst>
              <a:ext uri="{FF2B5EF4-FFF2-40B4-BE49-F238E27FC236}">
                <a16:creationId xmlns:a16="http://schemas.microsoft.com/office/drawing/2014/main" id="{956EEDF9-B18F-4AFB-9E04-CA990EBDD6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3418" y="1147237"/>
            <a:ext cx="4502150" cy="663575"/>
          </a:xfrm>
        </p:spPr>
        <p:txBody>
          <a:bodyPr>
            <a:noAutofit/>
          </a:bodyPr>
          <a:lstStyle>
            <a:lvl1pPr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7C11469D-9EC8-4519-836A-687F6608159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75002" y="3794760"/>
            <a:ext cx="11442124" cy="2312352"/>
          </a:xfrm>
          <a:solidFill>
            <a:srgbClr val="FFFFFF">
              <a:alpha val="89804"/>
            </a:srgbClr>
          </a:solidFill>
        </p:spPr>
        <p:txBody>
          <a:bodyPr lIns="731520" tIns="292608" rIns="9144000" bIns="365760"/>
          <a:lstStyle>
            <a:lvl1pPr>
              <a:defRPr sz="1999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A75E45-8148-442F-822D-E9C73BA8CBE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181495" y="4087368"/>
            <a:ext cx="1554480" cy="1647866"/>
          </a:xfrm>
        </p:spPr>
        <p:txBody>
          <a:bodyPr/>
          <a:lstStyle>
            <a:lvl1pPr>
              <a:defRPr sz="1999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E5F229D-5445-4481-B37A-7C803D7A4E2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292105" y="4087368"/>
            <a:ext cx="1554480" cy="1647866"/>
          </a:xfrm>
        </p:spPr>
        <p:txBody>
          <a:bodyPr/>
          <a:lstStyle>
            <a:lvl1pPr>
              <a:defRPr sz="1999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13FBD4EE-F77B-494E-85B2-4353717063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410333" y="4087368"/>
            <a:ext cx="1552597" cy="1647866"/>
          </a:xfrm>
        </p:spPr>
        <p:txBody>
          <a:bodyPr/>
          <a:lstStyle>
            <a:lvl1pPr>
              <a:defRPr sz="1999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BAA180E-9385-446C-8FE0-5A75D6AC5FA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22127" y="4087368"/>
            <a:ext cx="1600200" cy="1647866"/>
          </a:xfrm>
        </p:spPr>
        <p:txBody>
          <a:bodyPr/>
          <a:lstStyle>
            <a:lvl1pPr>
              <a:defRPr sz="1999" b="1"/>
            </a:lvl1pPr>
            <a:lvl2pPr marL="0" indent="0">
              <a:buFontTx/>
              <a:buNone/>
              <a:defRPr sz="1500"/>
            </a:lvl2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Descriptor text</a:t>
            </a:r>
          </a:p>
        </p:txBody>
      </p:sp>
    </p:spTree>
    <p:extLst>
      <p:ext uri="{BB962C8B-B14F-4D97-AF65-F5344CB8AC3E}">
        <p14:creationId xmlns:p14="http://schemas.microsoft.com/office/powerpoint/2010/main" val="90341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left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D01347EA-A5E7-49A1-A514-68318CFEBC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48" y="384048"/>
            <a:ext cx="11432977" cy="5724144"/>
          </a:xfrm>
          <a:solidFill>
            <a:schemeClr val="bg1">
              <a:lumMod val="75000"/>
            </a:schemeClr>
          </a:solidFill>
        </p:spPr>
        <p:txBody>
          <a:bodyPr rIns="228600"/>
          <a:lstStyle>
            <a:lvl1pPr algn="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02D166E-0ECA-42FC-92B4-4E1210F30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7442" y="0"/>
            <a:ext cx="5318557" cy="5724144"/>
          </a:xfrm>
          <a:solidFill>
            <a:schemeClr val="accent2">
              <a:alpha val="80000"/>
            </a:schemeClr>
          </a:solidFill>
        </p:spPr>
        <p:txBody>
          <a:bodyPr lIns="566928" tIns="822960" rIns="182880" bIns="182880" anchor="t">
            <a:noAutofit/>
          </a:bodyPr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1844AFB-2CD7-4A47-A791-8BD9C1F3A6E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1344518" y="2103120"/>
            <a:ext cx="4115872" cy="3154680"/>
          </a:xfrm>
        </p:spPr>
        <p:txBody>
          <a:bodyPr/>
          <a:lstStyle>
            <a:lvl1pPr>
              <a:defRPr sz="1500" cap="none" baseline="0">
                <a:solidFill>
                  <a:schemeClr val="bg1"/>
                </a:solidFill>
              </a:defRPr>
            </a:lvl1pPr>
            <a:lvl2pPr marL="171399" indent="-171399">
              <a:defRPr sz="1500">
                <a:solidFill>
                  <a:schemeClr val="bg1"/>
                </a:solidFill>
              </a:defRPr>
            </a:lvl2pPr>
            <a:lvl3pPr marL="347559" indent="-176160">
              <a:spcBef>
                <a:spcPts val="600"/>
              </a:spcBef>
              <a:buFont typeface="Arial" panose="020B0604020202020204" pitchFamily="34" charset="0"/>
              <a:buChar char="–"/>
              <a:defRPr sz="1500">
                <a:solidFill>
                  <a:schemeClr val="bg1"/>
                </a:solidFill>
              </a:defRPr>
            </a:lvl3pPr>
            <a:lvl4pPr marL="509435" indent="-161876">
              <a:spcBef>
                <a:spcPts val="600"/>
              </a:spcBef>
              <a:defRPr sz="1500">
                <a:solidFill>
                  <a:schemeClr val="bg1"/>
                </a:solidFill>
              </a:defRPr>
            </a:lvl4pPr>
            <a:lvl5pPr marL="682420" indent="-172986">
              <a:spcBef>
                <a:spcPts val="600"/>
              </a:spcBef>
              <a:defRPr sz="1500">
                <a:solidFill>
                  <a:schemeClr val="bg1"/>
                </a:solidFill>
              </a:defRPr>
            </a:lvl5pPr>
            <a:lvl6pPr marL="856993" indent="-174573">
              <a:defRPr sz="1500">
                <a:solidFill>
                  <a:schemeClr val="bg1"/>
                </a:solidFill>
              </a:defRPr>
            </a:lvl6pPr>
            <a:lvl7pPr marL="1029979" indent="-172986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7pPr>
            <a:lvl8pPr marL="1202964" indent="-174573">
              <a:spcBef>
                <a:spcPts val="600"/>
              </a:spcBef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</a:defRPr>
            </a:lvl8pPr>
            <a:lvl9pPr marL="1377537" indent="-174573">
              <a:spcBef>
                <a:spcPts val="600"/>
              </a:spcBef>
              <a:buFont typeface="Arial" panose="020B0604020202020204" pitchFamily="34" charset="0"/>
              <a:buChar char="–"/>
              <a:defRPr sz="1500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-level bullet</a:t>
            </a:r>
          </a:p>
          <a:p>
            <a:pPr lvl="2"/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</p:spTree>
    <p:extLst>
      <p:ext uri="{BB962C8B-B14F-4D97-AF65-F5344CB8AC3E}">
        <p14:creationId xmlns:p14="http://schemas.microsoft.com/office/powerpoint/2010/main" val="1695346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7929" y="649224"/>
            <a:ext cx="9667726" cy="713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57929" y="1773936"/>
            <a:ext cx="11048829" cy="39776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-level bullet</a:t>
            </a:r>
          </a:p>
          <a:p>
            <a:pPr marL="342797" marR="0" lvl="2" indent="-171399" algn="l" defTabSz="45706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pPr>
            <a:r>
              <a:rPr lang="en-US"/>
              <a:t>Second-level bullet</a:t>
            </a:r>
          </a:p>
          <a:p>
            <a:pPr lvl="3"/>
            <a:r>
              <a:rPr lang="en-US"/>
              <a:t>Third-level bullet</a:t>
            </a:r>
          </a:p>
          <a:p>
            <a:pPr lvl="4"/>
            <a:r>
              <a:rPr lang="en-US"/>
              <a:t>Fourth-level bullet</a:t>
            </a:r>
          </a:p>
          <a:p>
            <a:pPr lvl="5"/>
            <a:r>
              <a:rPr lang="en-US"/>
              <a:t>Fifth-level bullet</a:t>
            </a:r>
          </a:p>
          <a:p>
            <a:pPr lvl="6"/>
            <a:r>
              <a:rPr lang="en-US"/>
              <a:t>Sixth-level bullet</a:t>
            </a:r>
          </a:p>
          <a:p>
            <a:pPr lvl="7"/>
            <a:r>
              <a:rPr lang="en-US"/>
              <a:t>Seventh-level bullet</a:t>
            </a:r>
          </a:p>
          <a:p>
            <a:pPr lvl="8"/>
            <a:r>
              <a:rPr lang="en-US"/>
              <a:t>Eighth-level bullet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1E28CCB-AC23-43A9-8F02-4B7E9208A708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0687824" y="6352940"/>
            <a:ext cx="932646" cy="18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774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hf hdr="0" dt="0"/>
  <p:txStyles>
    <p:titleStyle>
      <a:lvl1pPr algn="l" defTabSz="457063" rtl="0" eaLnBrk="1" latinLnBrk="0" hangingPunct="1">
        <a:lnSpc>
          <a:spcPct val="90000"/>
        </a:lnSpc>
        <a:spcBef>
          <a:spcPct val="0"/>
        </a:spcBef>
        <a:buNone/>
        <a:defRPr sz="2799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063" rtl="0" eaLnBrk="1" latinLnBrk="0" hangingPunct="1">
        <a:lnSpc>
          <a:spcPct val="100000"/>
        </a:lnSpc>
        <a:spcBef>
          <a:spcPts val="1799"/>
        </a:spcBef>
        <a:buClrTx/>
        <a:buFont typeface="Arial"/>
        <a:buNone/>
        <a:defRPr sz="15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71399" indent="-171399" algn="l" defTabSz="457063" rtl="0" eaLnBrk="1" latinLnBrk="0" hangingPunct="1">
        <a:lnSpc>
          <a:spcPct val="100000"/>
        </a:lnSpc>
        <a:spcBef>
          <a:spcPts val="1200"/>
        </a:spcBef>
        <a:buClrTx/>
        <a:buFont typeface="Arial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171399" marR="0" indent="0" algn="l" defTabSz="457063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Lucida Grande"/>
        <a:buNone/>
        <a:tabLst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514196" indent="-171399" algn="l" defTabSz="457063" rtl="0" eaLnBrk="1" latinLnBrk="0" hangingPunct="1">
        <a:lnSpc>
          <a:spcPct val="100000"/>
        </a:lnSpc>
        <a:spcBef>
          <a:spcPts val="600"/>
        </a:spcBef>
        <a:buClrTx/>
        <a:buFont typeface="Arial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682420" indent="-168225" algn="l" defTabSz="457063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856993" indent="-174573" algn="l" defTabSz="45706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029979" indent="-172986" algn="l" defTabSz="45706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1202964" indent="-172986" algn="l" defTabSz="457063" rtl="0" eaLnBrk="1" latinLnBrk="0" hangingPunct="1">
        <a:lnSpc>
          <a:spcPct val="100000"/>
        </a:lnSpc>
        <a:spcBef>
          <a:spcPts val="600"/>
        </a:spcBef>
        <a:buFont typeface="Arial"/>
        <a:buChar char="•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1377537" indent="-174573" algn="l" defTabSz="45706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1pPr>
      <a:lvl2pPr marL="0" algn="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2pPr>
      <a:lvl3pPr marL="0" algn="ct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3pPr>
      <a:lvl4pPr marL="0" algn="l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4pPr>
      <a:lvl5pPr marL="0" algn="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5pPr>
      <a:lvl6pPr marL="0" algn="ct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7pPr>
      <a:lvl8pPr marL="0" algn="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8pPr>
      <a:lvl9pPr marL="0" algn="ctr" defTabSz="457063" rtl="0" eaLnBrk="1" fontAlgn="ctr" latinLnBrk="0" hangingPunct="1">
        <a:defRPr sz="1500" kern="15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59">
          <p15:clr>
            <a:srgbClr val="F26B43"/>
          </p15:clr>
        </p15:guide>
        <p15:guide id="2" pos="7319">
          <p15:clr>
            <a:srgbClr val="F26B43"/>
          </p15:clr>
        </p15:guide>
        <p15:guide id="3" orient="horz" pos="432">
          <p15:clr>
            <a:srgbClr val="F26B43"/>
          </p15:clr>
        </p15:guide>
        <p15:guide id="4" orient="horz" pos="4112">
          <p15:clr>
            <a:srgbClr val="F26B43"/>
          </p15:clr>
        </p15:guide>
        <p15:guide id="5" orient="horz" pos="1116">
          <p15:clr>
            <a:srgbClr val="F26B43"/>
          </p15:clr>
        </p15:guide>
        <p15:guide id="6" orient="horz" pos="36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AF8FB6A-2DB3-6058-FA30-1D824DBAF5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746" y="1204331"/>
            <a:ext cx="7910982" cy="2365862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EBE0606-D2C2-9791-201A-593EDC600D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746" y="3925228"/>
            <a:ext cx="7855235" cy="234882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571009D7-E5E5-8F4D-3FF0-9FCAA89F5835}"/>
              </a:ext>
            </a:extLst>
          </p:cNvPr>
          <p:cNvSpPr txBox="1">
            <a:spLocks/>
          </p:cNvSpPr>
          <p:nvPr/>
        </p:nvSpPr>
        <p:spPr>
          <a:xfrm>
            <a:off x="384148" y="384049"/>
            <a:ext cx="6864145" cy="672949"/>
          </a:xfrm>
          <a:prstGeom prst="rect">
            <a:avLst/>
          </a:prstGeom>
        </p:spPr>
        <p:txBody>
          <a:bodyPr/>
          <a:lstStyle>
            <a:lvl1pPr algn="l" defTabSz="4570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99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VS Health Sans"/>
                <a:ea typeface="+mj-ea"/>
                <a:cs typeface="+mj-cs"/>
              </a:rPr>
              <a:t>Updated ID cards as of 7/1/23</a:t>
            </a: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7DD8AA80-8CA6-FD01-4047-DB17D3B90C0D}"/>
              </a:ext>
            </a:extLst>
          </p:cNvPr>
          <p:cNvSpPr txBox="1">
            <a:spLocks/>
          </p:cNvSpPr>
          <p:nvPr/>
        </p:nvSpPr>
        <p:spPr>
          <a:xfrm>
            <a:off x="557931" y="6367487"/>
            <a:ext cx="352459" cy="228600"/>
          </a:xfrm>
          <a:prstGeom prst="rect">
            <a:avLst/>
          </a:prstGeom>
        </p:spPr>
        <p:txBody>
          <a:bodyPr lIns="0" rIns="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201738" algn="l"/>
              </a:tabLst>
              <a:defRPr/>
            </a:pPr>
            <a:fld id="{38743595-4496-5147-A886-7D133864DF76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VS Health Sans"/>
                <a:ea typeface="Open Sans" panose="020B0606030504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201738" algn="l"/>
                </a:tabLst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VS Health Sans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252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VS_Health_PPT_Executive_Template">
  <a:themeElements>
    <a:clrScheme name="Custom 23">
      <a:dk1>
        <a:srgbClr val="000000"/>
      </a:dk1>
      <a:lt1>
        <a:sysClr val="window" lastClr="FFFFFF"/>
      </a:lt1>
      <a:dk2>
        <a:srgbClr val="3F3F3F"/>
      </a:dk2>
      <a:lt2>
        <a:srgbClr val="C0C0C0"/>
      </a:lt2>
      <a:accent1>
        <a:srgbClr val="563D82"/>
      </a:accent1>
      <a:accent2>
        <a:srgbClr val="7D3F98"/>
      </a:accent2>
      <a:accent3>
        <a:srgbClr val="AE86C0"/>
      </a:accent3>
      <a:accent4>
        <a:srgbClr val="B9AFC0"/>
      </a:accent4>
      <a:accent5>
        <a:srgbClr val="646464"/>
      </a:accent5>
      <a:accent6>
        <a:srgbClr val="868686"/>
      </a:accent6>
      <a:hlink>
        <a:srgbClr val="3F3F3F"/>
      </a:hlink>
      <a:folHlink>
        <a:srgbClr val="A5A5A5"/>
      </a:folHlink>
    </a:clrScheme>
    <a:fontScheme name="CVS Fonts">
      <a:majorFont>
        <a:latin typeface="CVS Health Sans"/>
        <a:ea typeface=""/>
        <a:cs typeface=""/>
      </a:majorFont>
      <a:minorFont>
        <a:latin typeface="CVS Health Sans"/>
        <a:ea typeface=""/>
        <a:cs typeface=""/>
      </a:minorFont>
    </a:fontScheme>
    <a:fmtScheme name="Flat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>
            <a:shade val="65000"/>
          </a:schemeClr>
        </a:solidFill>
      </a:fillStyleLst>
      <a:lnStyleLst>
        <a:ln w="3175" cap="flat" cmpd="sng" algn="ctr">
          <a:solidFill>
            <a:schemeClr val="phClr">
              <a:shade val="65000"/>
            </a:schemeClr>
          </a:solidFill>
          <a:prstDash val="solid"/>
        </a:ln>
        <a:ln w="3175" cap="flat" cmpd="sng" algn="ctr">
          <a:solidFill>
            <a:schemeClr val="phClr"/>
          </a:solidFill>
          <a:prstDash val="solid"/>
        </a:ln>
        <a:ln w="0" cap="flat" cmpd="sng" algn="ctr">
          <a:noFill/>
        </a:ln>
      </a:lnStyleLst>
      <a:effectStyleLst>
        <a:effectStyle>
          <a:effectLst>
            <a:blur/>
          </a:effectLst>
        </a:effectStyle>
        <a:effectStyle>
          <a:effectLst>
            <a:blur/>
          </a:effectLst>
        </a:effectStyle>
        <a:effectStyle>
          <a:effectLst>
            <a:fillOverlay blend="darken">
              <a:solidFill>
                <a:schemeClr val="phClr">
                  <a:shade val="30000"/>
                </a:schemeClr>
              </a:solidFill>
            </a:fillOverlay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>
          <a:noFill/>
          <a:miter lim="800000"/>
        </a:ln>
        <a:effectLst/>
      </a:spPr>
      <a:bodyPr rtlCol="0" anchor="ctr"/>
      <a:lstStyle>
        <a:defPPr algn="ctr">
          <a:defRPr sz="1500" b="1" dirty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VS Health Red">
      <a:srgbClr val="CC0000"/>
    </a:custClr>
    <a:custClr name="PPT Red Dark">
      <a:srgbClr val="9E0000"/>
    </a:custClr>
    <a:custClr name="Gray Extralight">
      <a:srgbClr val="E9E9E9"/>
    </a:custClr>
    <a:custClr name="PPT Gray Light">
      <a:srgbClr val="C0C0C0"/>
    </a:custClr>
    <a:custClr name="PPT Gray Medium">
      <a:srgbClr val="868686"/>
    </a:custClr>
    <a:custClr name="PPT Gray Dark">
      <a:srgbClr val="646464"/>
    </a:custClr>
    <a:custClr name="Aetna Violet">
      <a:srgbClr val="7D3F98"/>
    </a:custClr>
    <a:custClr name="PPT Violet Dark">
      <a:srgbClr val="563D82"/>
    </a:custClr>
    <a:custClr name="Navy Light">
      <a:srgbClr val="0A4B8C"/>
    </a:custClr>
    <a:custClr name="Navy">
      <a:srgbClr val="0B315E"/>
    </a:custClr>
    <a:custClr name="Navy Light">
      <a:srgbClr val="0A4B8C"/>
    </a:custClr>
    <a:custClr name="PPT Blue Dark">
      <a:srgbClr val="267AC0"/>
    </a:custClr>
    <a:custClr name="Navy">
      <a:srgbClr val="0B315E"/>
    </a:custClr>
    <a:custClr name="PPT Teal Extradark">
      <a:srgbClr val="00787E"/>
    </a:custClr>
    <a:custClr name="Teal Dark">
      <a:srgbClr val="00A78E"/>
    </a:custClr>
    <a:custClr name="PPT Teal Ultradark">
      <a:srgbClr val="00585E"/>
    </a:custClr>
    <a:custClr name="PPT Gray Dark">
      <a:srgbClr val="646464"/>
    </a:custClr>
    <a:custClr name="PPT Gray Medium">
      <a:srgbClr val="868686"/>
    </a:custClr>
    <a:custClr name="Text Gray">
      <a:srgbClr val="3F3F3F"/>
    </a:custClr>
    <a:custClr name="PPT Green Extradark">
      <a:srgbClr val="487A10"/>
    </a:custClr>
  </a:custClrLst>
  <a:extLst>
    <a:ext uri="{05A4C25C-085E-4340-85A3-A5531E510DB2}">
      <thm15:themeFamily xmlns:thm15="http://schemas.microsoft.com/office/thememl/2012/main" name="Aetna_Executive_Widescreen_Template_01_2022.potx" id="{6DED15E2-CDF2-493E-80E2-9767C9B27F07}" vid="{96F7F071-DC27-4CCF-92A1-285A70157C6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7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VS Health Sans</vt:lpstr>
      <vt:lpstr>CVS Health Sans Cd</vt:lpstr>
      <vt:lpstr>Lucida Grande</vt:lpstr>
      <vt:lpstr>Open Sans</vt:lpstr>
      <vt:lpstr>Open Sans Bold</vt:lpstr>
      <vt:lpstr>3_CVS_Health_PPT_Executive_Templat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lonshine, Eric</dc:creator>
  <cp:lastModifiedBy>Blonshine, Eric</cp:lastModifiedBy>
  <cp:revision>1</cp:revision>
  <dcterms:created xsi:type="dcterms:W3CDTF">2023-06-06T21:58:30Z</dcterms:created>
  <dcterms:modified xsi:type="dcterms:W3CDTF">2023-06-06T22:0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599526-06ca-49cc-9fa9-5307800a949a_Enabled">
    <vt:lpwstr>true</vt:lpwstr>
  </property>
  <property fmtid="{D5CDD505-2E9C-101B-9397-08002B2CF9AE}" pid="3" name="MSIP_Label_67599526-06ca-49cc-9fa9-5307800a949a_SetDate">
    <vt:lpwstr>2023-06-06T21:58:30Z</vt:lpwstr>
  </property>
  <property fmtid="{D5CDD505-2E9C-101B-9397-08002B2CF9AE}" pid="4" name="MSIP_Label_67599526-06ca-49cc-9fa9-5307800a949a_Method">
    <vt:lpwstr>Standard</vt:lpwstr>
  </property>
  <property fmtid="{D5CDD505-2E9C-101B-9397-08002B2CF9AE}" pid="5" name="MSIP_Label_67599526-06ca-49cc-9fa9-5307800a949a_Name">
    <vt:lpwstr>67599526-06ca-49cc-9fa9-5307800a949a</vt:lpwstr>
  </property>
  <property fmtid="{D5CDD505-2E9C-101B-9397-08002B2CF9AE}" pid="6" name="MSIP_Label_67599526-06ca-49cc-9fa9-5307800a949a_SiteId">
    <vt:lpwstr>fabb61b8-3afe-4e75-b934-a47f782b8cd7</vt:lpwstr>
  </property>
  <property fmtid="{D5CDD505-2E9C-101B-9397-08002B2CF9AE}" pid="7" name="MSIP_Label_67599526-06ca-49cc-9fa9-5307800a949a_ActionId">
    <vt:lpwstr>e294bc5c-e0b1-4d74-b641-97fcaae88caa</vt:lpwstr>
  </property>
  <property fmtid="{D5CDD505-2E9C-101B-9397-08002B2CF9AE}" pid="8" name="MSIP_Label_67599526-06ca-49cc-9fa9-5307800a949a_ContentBits">
    <vt:lpwstr>0</vt:lpwstr>
  </property>
</Properties>
</file>